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6" r:id="rId2"/>
    <p:sldId id="266" r:id="rId3"/>
    <p:sldId id="257" r:id="rId4"/>
    <p:sldId id="258" r:id="rId5"/>
    <p:sldId id="260" r:id="rId6"/>
    <p:sldId id="262" r:id="rId7"/>
    <p:sldId id="263" r:id="rId8"/>
    <p:sldId id="264" r:id="rId9"/>
    <p:sldId id="267" r:id="rId10"/>
    <p:sldId id="268" r:id="rId11"/>
  </p:sldIdLst>
  <p:sldSz cx="12192000" cy="6858000"/>
  <p:notesSz cx="6858000" cy="9144000"/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729B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55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A57C3F-0FB2-4B2E-BA6A-FEEEFF1AF7E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57400" y="685801"/>
            <a:ext cx="8115300" cy="3046228"/>
          </a:xfrm>
        </p:spPr>
        <p:txBody>
          <a:bodyPr anchor="b">
            <a:normAutofit/>
          </a:bodyPr>
          <a:lstStyle>
            <a:lvl1pPr algn="ctr">
              <a:defRPr sz="3600" cap="all" spc="3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8583AE9-1CC1-4572-A6E5-E97F80E476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057400" y="4114800"/>
            <a:ext cx="8115300" cy="2057400"/>
          </a:xfrm>
        </p:spPr>
        <p:txBody>
          <a:bodyPr/>
          <a:lstStyle>
            <a:lvl1pPr marL="0" indent="0" algn="ctr">
              <a:buNone/>
              <a:defRPr sz="2400" i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C04DE7C-68AB-403D-B9D8-7398C292C6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FEA57E-7C1A-457B-A4CD-5DCEB057B502}" type="datetime1">
              <a:rPr lang="en-US" smtClean="0"/>
              <a:t>2/10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1003E50-6613-4D86-AA22-43B14E7279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Sample Footer Tex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3069AB5-A56D-471F-9236-EFA981E2EA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E28480-1C08-4458-AD97-0283E6FFD09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485218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02744C-12E6-455B-B646-2EA92DE0E9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7D71C4D-C062-4EEE-9A9A-31ADCC5C876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44DC97-C26E-407A-9E29-68C52D547B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789749-A4CD-447F-8298-2B7988C91CEA}" type="datetime1">
              <a:rPr lang="en-US" smtClean="0"/>
              <a:t>2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2E9353-B771-47FF-975E-72337414E0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Sample Footer Tex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A5A858-B8B2-4364-A7D0-B2E8FAE0AD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E28480-1C08-4458-AD97-0283E6FFD0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8315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42A6BABE-D80C-4F54-A03C-E1F9EBCA832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9285191-EF5B-48BE-AB5D-B7BA4C3D093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FA387A-1231-4FE3-8574-D4331A3432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0444D3-C0BA-4587-A56C-581AB9F841BE}" type="datetime1">
              <a:rPr lang="en-US" smtClean="0"/>
              <a:t>2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2F21559-4901-4AD3-ABE7-DF0235457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 Tex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8F6C18E-B751-4E7B-9CD8-1BF44DAB80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E28480-1C08-4458-AD97-0283E6FFD0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298805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49B412-EBAB-4569-B3D9-6B346BF837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600" y="685800"/>
            <a:ext cx="9486900" cy="1371600"/>
          </a:xfrm>
        </p:spPr>
        <p:txBody>
          <a:bodyPr>
            <a:normAutofit/>
          </a:bodyPr>
          <a:lstStyle>
            <a:lvl1pPr algn="l">
              <a:defRPr sz="3200" cap="all" spc="3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5E7C8AE-B0F4-404F-BCAD-A14C18E50D9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8AA9CAD-DAFB-4DE3-9C41-7FD03EA8D8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1AF2CE-4F37-411C-A3EE-BBBE223265BF}" type="datetime1">
              <a:rPr lang="en-US" smtClean="0"/>
              <a:t>2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FCE3137-8136-46C5-AC2F-49E5F55E4C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 Tex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1AB6EF-A0B1-4706-AE44-253A6B182D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E28480-1C08-4458-AD97-0283E6FFD0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51490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C02F68-BF19-468D-B422-54B6D189FA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774071"/>
          </a:xfrm>
        </p:spPr>
        <p:txBody>
          <a:bodyPr anchor="b">
            <a:normAutofit/>
          </a:bodyPr>
          <a:lstStyle>
            <a:lvl1pPr algn="ctr">
              <a:defRPr sz="5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BCBF7D7-84D4-4A39-B44E-9B029EEB1F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641624"/>
            <a:ext cx="10515600" cy="1448026"/>
          </a:xfrm>
        </p:spPr>
        <p:txBody>
          <a:bodyPr/>
          <a:lstStyle>
            <a:lvl1pPr marL="0" indent="0" algn="ctr">
              <a:buNone/>
              <a:defRPr sz="2400" i="1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E29709-D243-41E8-89FA-62FA7AEB52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6083D4-708C-4BB5-B4FD-30CE9FA12FD5}" type="datetime1">
              <a:rPr lang="en-US" smtClean="0"/>
              <a:t>2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AAB99C0-DC2A-4133-A10D-D43A1E05BB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Sample Footer Tex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8122EFD-A17E-47F5-8AC9-EFD6D813DB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E28480-1C08-4458-AD97-0283E6FFD0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23619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1C668D-BFBE-4765-A294-8303931B57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46071" y="566278"/>
            <a:ext cx="9512429" cy="965458"/>
          </a:xfrm>
        </p:spPr>
        <p:txBody>
          <a:bodyPr/>
          <a:lstStyle>
            <a:lvl1pPr algn="ctr">
              <a:defRPr cap="all" spc="3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1B3C212-F55F-4D0D-BFA7-F00A33CAA19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909758" y="2057400"/>
            <a:ext cx="5031521" cy="41195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154BDD7-2575-4E82-887D-DCAF9EB1592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65408" y="2057401"/>
            <a:ext cx="5016834" cy="41195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9CAECC8-3C3A-4A5D-AB7A-1F99E5023D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D239B2-65BC-4C2A-A62B-3EABFE9590E4}" type="datetime1">
              <a:rPr lang="en-US" smtClean="0"/>
              <a:t>2/10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447609B-ACA4-4323-9340-C7DB166D7A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 Tex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7409EA3-C5C7-4AC6-956A-DB9A3B4F31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E28480-1C08-4458-AD97-0283E6FFD0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97075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E0CDE0-7431-4F05-AA47-F10EB46C96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6"/>
            <a:ext cx="10276552" cy="1149350"/>
          </a:xfrm>
        </p:spPr>
        <p:txBody>
          <a:bodyPr>
            <a:normAutofit/>
          </a:bodyPr>
          <a:lstStyle>
            <a:lvl1pPr algn="ctr">
              <a:defRPr sz="3200" cap="all" spc="3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6D9FFA7-D3EA-4CB8-A471-94235AD6259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 i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05360D2-88E8-43C8-92D1-67AB23BBE26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5C768F6-20A1-47A1-90FE-903135EEFD5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D555EC1-268F-4324-A003-3608AA0D847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C55C8E4-FCB8-4E06-9C43-0ACD949A73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E05F5A-E4A3-476F-A89E-C2B73F2431E4}" type="datetime1">
              <a:rPr lang="en-US" smtClean="0"/>
              <a:t>2/10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B01C005-C973-4D82-942A-334F1D431A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 Text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AFB6186-6570-4DE8-8603-70B0A51DFE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E28480-1C08-4458-AD97-0283E6FFD0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7485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A5ADD3-88C8-4B01-8CC6-808C0E4160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2634E6A-1390-4101-B78E-7592313407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761515-4A26-4F31-9F61-5A10B1FABBFC}" type="datetime1">
              <a:rPr lang="en-US" smtClean="0"/>
              <a:t>2/10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BC7B90-4C99-4653-872A-3572A02DAE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 Tex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3B03516-4D31-49D2-9488-33C734A7A4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E28480-1C08-4458-AD97-0283E6FFD0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11254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10D8488-CF25-431B-A87A-AAF141BD0B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75DC65-7D1F-4BAB-9695-F7E734143E14}" type="datetime1">
              <a:rPr lang="en-US" smtClean="0"/>
              <a:t>2/10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A2F58E5-C92D-4C64-B867-0576B1EADD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 Tex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216797-ABEC-4FE0-AFDE-36107B9671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E28480-1C08-4458-AD97-0283E6FFD0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87611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68F2B0-990D-418E-9D10-2464E98669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6881131-AFFD-4339-9F30-D408B5105CB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A7C47F4-7968-4698-8BD3-A583099FAA1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E12BC6F-3996-4B2B-B8F2-DD3A82CCF7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624077-BD55-4036-8E92-6558FDF3B653}" type="datetime1">
              <a:rPr lang="en-US" smtClean="0"/>
              <a:t>2/10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A832E66-581A-4CF2-A40A-4E24FAAC4A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 Tex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3B1C89-C625-4618-81A2-FB34E4DA07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E28480-1C08-4458-AD97-0283E6FFD0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33350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51486F-443A-4F2D-AB1F-8B1F4C4DE7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A21213-E7FB-406A-B8CD-735AAC7AD0D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4F41A03-500E-49F7-8D99-A1EAFE4D340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391523D-69E9-4EAE-A610-B3A237B758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4225F2-7107-4609-BCC2-77C63064A5E8}" type="datetime1">
              <a:rPr lang="en-US" smtClean="0"/>
              <a:t>2/10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EDB852F-4134-4AB5-BA87-483B1E1ADD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 Tex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E34C5CB-918E-4A09-8222-D36E37B63C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E28480-1C08-4458-AD97-0283E6FFD0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97551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7FA32AA-2BE3-4CB8-BE3C-8A2D589E55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7247815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15" imgW="395" imgH="396" progId="TCLayout.ActiveDocument.1">
                  <p:embed/>
                </p:oleObj>
              </mc:Choice>
              <mc:Fallback>
                <p:oleObj name="think-cell Slide" r:id="rId1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3AA0686-7BAC-45C0-BA30-0D0CBCE5CE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600" y="685800"/>
            <a:ext cx="9486900" cy="13716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34202DE-82CD-407D-8C68-174B0CBB57F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371599" y="2254103"/>
            <a:ext cx="9486901" cy="391809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554AC9D-6E1B-46D3-959F-A068A1EDBDB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5400000">
            <a:off x="9800022" y="3223751"/>
            <a:ext cx="4114801" cy="4105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cap="all" spc="300" baseline="0">
                <a:solidFill>
                  <a:schemeClr val="tx2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fld id="{D3FE42E8-8B57-452D-A122-4DCE9AC771EF}" type="datetime1">
              <a:rPr lang="en-US" smtClean="0"/>
              <a:t>2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5FC0015-9EFB-40F8-BC00-AC2483D609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rot="5400000">
            <a:off x="-1708136" y="3223750"/>
            <a:ext cx="4114800" cy="4105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cap="all" spc="300" baseline="0">
                <a:solidFill>
                  <a:schemeClr val="tx2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Sample Footer Tex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72C732-0E3E-49E0-A72E-D4C08CB4455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16340" y="6356350"/>
            <a:ext cx="8718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spc="300">
                <a:solidFill>
                  <a:schemeClr val="tx2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fld id="{F8E28480-1C08-4458-AD97-0283E6FFD09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99131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0" r:id="rId2"/>
    <p:sldLayoutId id="2147483669" r:id="rId3"/>
    <p:sldLayoutId id="2147483668" r:id="rId4"/>
    <p:sldLayoutId id="2147483667" r:id="rId5"/>
    <p:sldLayoutId id="2147483666" r:id="rId6"/>
    <p:sldLayoutId id="2147483665" r:id="rId7"/>
    <p:sldLayoutId id="2147483664" r:id="rId8"/>
    <p:sldLayoutId id="2147483663" r:id="rId9"/>
    <p:sldLayoutId id="2147483662" r:id="rId10"/>
    <p:sldLayoutId id="2147483661" r:id="rId1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SzPct val="70000"/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j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SzPct val="70000"/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SzPct val="70000"/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SzPct val="70000"/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SzPct val="70000"/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2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7" name="Rectangle 6">
            <a:extLst>
              <a:ext uri="{FF2B5EF4-FFF2-40B4-BE49-F238E27FC236}">
                <a16:creationId xmlns:a16="http://schemas.microsoft.com/office/drawing/2014/main" id="{324B96B7-F07C-4E9B-86F3-BC46911353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 descr="Color splashes against a white background">
            <a:extLst>
              <a:ext uri="{FF2B5EF4-FFF2-40B4-BE49-F238E27FC236}">
                <a16:creationId xmlns:a16="http://schemas.microsoft.com/office/drawing/2014/main" id="{C9EE585E-3BC9-43AC-8873-C26287FB211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8230" b="7501"/>
          <a:stretch/>
        </p:blipFill>
        <p:spPr>
          <a:xfrm>
            <a:off x="20" y="10"/>
            <a:ext cx="12191980" cy="6857989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8080042-2FDB-4BE7-AC8D-68634797C4B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813917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011BA5C5-0EC3-4D7E-A446-6729FD8E2BF6}"/>
              </a:ext>
            </a:extLst>
          </p:cNvPr>
          <p:cNvSpPr txBox="1"/>
          <p:nvPr/>
        </p:nvSpPr>
        <p:spPr>
          <a:xfrm>
            <a:off x="3332822" y="3059668"/>
            <a:ext cx="471583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dirty="0">
                <a:solidFill>
                  <a:schemeClr val="bg1"/>
                </a:solidFill>
              </a:rPr>
              <a:t>Section B Chat Analysis </a:t>
            </a:r>
          </a:p>
        </p:txBody>
      </p:sp>
    </p:spTree>
    <p:extLst>
      <p:ext uri="{BB962C8B-B14F-4D97-AF65-F5344CB8AC3E}">
        <p14:creationId xmlns:p14="http://schemas.microsoft.com/office/powerpoint/2010/main" val="173575295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3C2AA6F-31A7-49EF-8189-C23D73FBD05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2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3C2AA6F-31A7-49EF-8189-C23D73FBD0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E2D8AB-C292-4018-8F94-3206DF5212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52550" y="200297"/>
            <a:ext cx="9486900" cy="986643"/>
          </a:xfrm>
        </p:spPr>
        <p:txBody>
          <a:bodyPr vert="horz">
            <a:normAutofit/>
          </a:bodyPr>
          <a:lstStyle/>
          <a:p>
            <a:pPr algn="ctr"/>
            <a:r>
              <a:rPr lang="en-US" dirty="0"/>
              <a:t>The “crush metric”:</a:t>
            </a:r>
            <a:br>
              <a:rPr lang="en-US" dirty="0"/>
            </a:br>
            <a:r>
              <a:rPr lang="en-US" sz="1800" dirty="0"/>
              <a:t>disproportionate Response rate to a specific person</a:t>
            </a: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44F89A9-7922-49C4-B377-3BE8C7CDDBA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90787" y="1404655"/>
            <a:ext cx="3410426" cy="4048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88690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DF453C51-3209-465F-909D-36A2A31F90D9}"/>
              </a:ext>
            </a:extLst>
          </p:cNvPr>
          <p:cNvSpPr txBox="1">
            <a:spLocks/>
          </p:cNvSpPr>
          <p:nvPr/>
        </p:nvSpPr>
        <p:spPr>
          <a:xfrm>
            <a:off x="3099657" y="3161952"/>
            <a:ext cx="5992685" cy="534095"/>
          </a:xfrm>
          <a:prstGeom prst="rect">
            <a:avLst/>
          </a:prstGeom>
        </p:spPr>
        <p:txBody>
          <a:bodyPr vert="horz" lIns="91440" tIns="45720" rIns="91440" bIns="45720" rtlCol="0" anchor="b">
            <a:normAutofit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 cap="all" spc="3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1800" dirty="0"/>
              <a:t>Names and numbers have been changed to protect the guilty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49185350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8DDB4BB-B259-4339-9232-7D748101C6D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54599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2D78474-BFB6-4888-914A-848280DBC6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1360" y="226264"/>
            <a:ext cx="9486900" cy="553720"/>
          </a:xfrm>
        </p:spPr>
        <p:txBody>
          <a:bodyPr vert="horz"/>
          <a:lstStyle/>
          <a:p>
            <a:pPr algn="ctr"/>
            <a:r>
              <a:rPr lang="en-US" dirty="0"/>
              <a:t>Texts over tim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6547752-22C8-4B04-858F-63D8209DC89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779984"/>
            <a:ext cx="12192000" cy="59404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856736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3C2AA6F-31A7-49EF-8189-C23D73FBD05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98875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E2D8AB-C292-4018-8F94-3206DF5212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600" y="182880"/>
            <a:ext cx="9486900" cy="584200"/>
          </a:xfrm>
        </p:spPr>
        <p:txBody>
          <a:bodyPr vert="horz"/>
          <a:lstStyle/>
          <a:p>
            <a:pPr algn="ctr"/>
            <a:r>
              <a:rPr lang="en-US" dirty="0"/>
              <a:t>Most texts sen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E8C49E8-43E2-4B5D-B8A1-2200B9BE445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318810" y="1237944"/>
            <a:ext cx="7554379" cy="4382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288260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3C2AA6F-31A7-49EF-8189-C23D73FBD05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15091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9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3C2AA6F-31A7-49EF-8189-C23D73FBD0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E2D8AB-C292-4018-8F94-3206DF5212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600" y="182880"/>
            <a:ext cx="9486900" cy="584200"/>
          </a:xfrm>
        </p:spPr>
        <p:txBody>
          <a:bodyPr vert="horz"/>
          <a:lstStyle/>
          <a:p>
            <a:pPr algn="ctr"/>
            <a:r>
              <a:rPr lang="en-US" dirty="0"/>
              <a:t>Most texts 2-5AM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AB4C27B-F022-4FF5-86A5-7E64EABB23B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180678" y="847364"/>
            <a:ext cx="7830643" cy="51632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764062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3C2AA6F-31A7-49EF-8189-C23D73FBD05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51694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3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3C2AA6F-31A7-49EF-8189-C23D73FBD0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E2D8AB-C292-4018-8F94-3206DF5212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600" y="182880"/>
            <a:ext cx="9486900" cy="584200"/>
          </a:xfrm>
        </p:spPr>
        <p:txBody>
          <a:bodyPr vert="horz"/>
          <a:lstStyle/>
          <a:p>
            <a:pPr algn="ctr"/>
            <a:r>
              <a:rPr lang="en-US" dirty="0"/>
              <a:t>Longest Messag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9A50181-2136-499B-9F7C-2221A3394C2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1131242"/>
            <a:ext cx="12192000" cy="4595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154001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3C2AA6F-31A7-49EF-8189-C23D73FBD05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27113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7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3C2AA6F-31A7-49EF-8189-C23D73FBD0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E2D8AB-C292-4018-8F94-3206DF5212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600" y="65348"/>
            <a:ext cx="10358846" cy="584200"/>
          </a:xfrm>
        </p:spPr>
        <p:txBody>
          <a:bodyPr vert="horz">
            <a:normAutofit fontScale="90000"/>
          </a:bodyPr>
          <a:lstStyle/>
          <a:p>
            <a:pPr algn="ctr"/>
            <a:r>
              <a:rPr lang="en-US" dirty="0"/>
              <a:t>“they only talk to me when they need me”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722A9A0-9A8A-4E97-B2BF-E2AFD119F62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71600" y="1258356"/>
            <a:ext cx="9332632" cy="5534296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8609D2FF-7A4B-490D-9C6A-B5477BD17E37}"/>
              </a:ext>
            </a:extLst>
          </p:cNvPr>
          <p:cNvSpPr txBox="1">
            <a:spLocks/>
          </p:cNvSpPr>
          <p:nvPr/>
        </p:nvSpPr>
        <p:spPr>
          <a:xfrm>
            <a:off x="1371600" y="539965"/>
            <a:ext cx="10358846" cy="58420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 cap="all" spc="3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1800" dirty="0"/>
              <a:t>Largest total M/M change in participation </a:t>
            </a:r>
          </a:p>
        </p:txBody>
      </p:sp>
    </p:spTree>
    <p:extLst>
      <p:ext uri="{BB962C8B-B14F-4D97-AF65-F5344CB8AC3E}">
        <p14:creationId xmlns:p14="http://schemas.microsoft.com/office/powerpoint/2010/main" val="368842663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3C2AA6F-31A7-49EF-8189-C23D73FBD05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99569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1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3C2AA6F-31A7-49EF-8189-C23D73FBD0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E2D8AB-C292-4018-8F94-3206DF5212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600" y="182880"/>
            <a:ext cx="9486900" cy="584200"/>
          </a:xfrm>
        </p:spPr>
        <p:txBody>
          <a:bodyPr vert="horz"/>
          <a:lstStyle/>
          <a:p>
            <a:pPr algn="ctr"/>
            <a:r>
              <a:rPr lang="en-US" dirty="0"/>
              <a:t>Most deleted Message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0378B88-6E22-497D-8630-67F93137482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63298" y="875354"/>
            <a:ext cx="8526065" cy="38010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738052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3C2AA6F-31A7-49EF-8189-C23D73FBD05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9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3C2AA6F-31A7-49EF-8189-C23D73FBD0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E2D8AB-C292-4018-8F94-3206DF5212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600" y="182880"/>
            <a:ext cx="9486900" cy="584200"/>
          </a:xfrm>
        </p:spPr>
        <p:txBody>
          <a:bodyPr vert="horz"/>
          <a:lstStyle/>
          <a:p>
            <a:pPr algn="ctr"/>
            <a:r>
              <a:rPr lang="en-US" dirty="0"/>
              <a:t>Most Popular Emoji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4D9BE69-A0DD-403D-A568-B5A529A1082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990946" y="2042919"/>
            <a:ext cx="2210108" cy="2772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27849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lassicFrameVTI">
  <a:themeElements>
    <a:clrScheme name="AnalogousFromRegularSeedLeftStep">
      <a:dk1>
        <a:srgbClr val="000000"/>
      </a:dk1>
      <a:lt1>
        <a:srgbClr val="FFFFFF"/>
      </a:lt1>
      <a:dk2>
        <a:srgbClr val="301B2B"/>
      </a:dk2>
      <a:lt2>
        <a:srgbClr val="F0F1F3"/>
      </a:lt2>
      <a:accent1>
        <a:srgbClr val="B1A11F"/>
      </a:accent1>
      <a:accent2>
        <a:srgbClr val="D57117"/>
      </a:accent2>
      <a:accent3>
        <a:srgbClr val="E73429"/>
      </a:accent3>
      <a:accent4>
        <a:srgbClr val="D5175B"/>
      </a:accent4>
      <a:accent5>
        <a:srgbClr val="E729BC"/>
      </a:accent5>
      <a:accent6>
        <a:srgbClr val="B117D5"/>
      </a:accent6>
      <a:hlink>
        <a:srgbClr val="5763C7"/>
      </a:hlink>
      <a:folHlink>
        <a:srgbClr val="7F7F7F"/>
      </a:folHlink>
    </a:clrScheme>
    <a:fontScheme name="Goudy and Gill Sans">
      <a:majorFont>
        <a:latin typeface="Goudy Old Style"/>
        <a:ea typeface=""/>
        <a:cs typeface=""/>
      </a:majorFont>
      <a:minorFont>
        <a:latin typeface="Gill Sans M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lassicFrameVTI" id="{4FA2A165-EC65-4FB0-B019-8C8876A1D8E3}" vid="{9D78F1F1-8226-42FD-A1A3-975EDF6D60F8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92</TotalTime>
  <Words>63</Words>
  <Application>Microsoft Office PowerPoint</Application>
  <PresentationFormat>Widescreen</PresentationFormat>
  <Paragraphs>11</Paragraphs>
  <Slides>1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5" baseType="lpstr">
      <vt:lpstr>Arial</vt:lpstr>
      <vt:lpstr>Gill Sans MT</vt:lpstr>
      <vt:lpstr>Goudy Old Style</vt:lpstr>
      <vt:lpstr>ClassicFrameVTI</vt:lpstr>
      <vt:lpstr>think-cell Slide</vt:lpstr>
      <vt:lpstr>PowerPoint Presentation</vt:lpstr>
      <vt:lpstr>PowerPoint Presentation</vt:lpstr>
      <vt:lpstr>Texts over time</vt:lpstr>
      <vt:lpstr>Most texts sent</vt:lpstr>
      <vt:lpstr>Most texts 2-5AM</vt:lpstr>
      <vt:lpstr>Longest Message</vt:lpstr>
      <vt:lpstr>“they only talk to me when they need me”</vt:lpstr>
      <vt:lpstr>Most deleted Messages</vt:lpstr>
      <vt:lpstr>Most Popular Emojis</vt:lpstr>
      <vt:lpstr>The “crush metric”: disproportionate Response rate to a specific pers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iannini Giannini, Jasson</dc:creator>
  <cp:lastModifiedBy>Giannini Giannini, Jasson</cp:lastModifiedBy>
  <cp:revision>23</cp:revision>
  <dcterms:created xsi:type="dcterms:W3CDTF">2021-05-20T09:31:22Z</dcterms:created>
  <dcterms:modified xsi:type="dcterms:W3CDTF">2022-02-10T09:48:51Z</dcterms:modified>
</cp:coreProperties>
</file>